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7" r:id="rId2"/>
  </p:sldIdLst>
  <p:sldSz cx="7556500" cy="10693400"/>
  <p:notesSz cx="6858000" cy="9144000"/>
  <p:embeddedFontLst>
    <p:embeddedFont>
      <p:font typeface="Sora" pitchFamily="2" charset="0"/>
      <p:regular r:id="rId3"/>
      <p:bold r:id="rId4"/>
    </p:embeddedFont>
    <p:embeddedFont>
      <p:font typeface="Sora Bold" pitchFamily="2" charset="0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996A"/>
    <a:srgbClr val="366C41"/>
    <a:srgbClr val="487A63"/>
    <a:srgbClr val="FFF9C4"/>
    <a:srgbClr val="3086B0"/>
    <a:srgbClr val="A464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49" d="100"/>
          <a:sy n="49" d="100"/>
        </p:scale>
        <p:origin x="1435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18" Type="http://schemas.openxmlformats.org/officeDocument/2006/relationships/image" Target="../media/image16.png"/><Relationship Id="rId3" Type="http://schemas.openxmlformats.org/officeDocument/2006/relationships/image" Target="../media/image1.jpeg"/><Relationship Id="rId21" Type="http://schemas.openxmlformats.org/officeDocument/2006/relationships/image" Target="../media/image19.svg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svg"/><Relationship Id="rId15" Type="http://schemas.openxmlformats.org/officeDocument/2006/relationships/image" Target="../media/image13.svg"/><Relationship Id="rId10" Type="http://schemas.openxmlformats.org/officeDocument/2006/relationships/image" Target="../media/image8.png"/><Relationship Id="rId19" Type="http://schemas.openxmlformats.org/officeDocument/2006/relationships/image" Target="../media/image17.svg"/><Relationship Id="rId4" Type="http://schemas.openxmlformats.org/officeDocument/2006/relationships/image" Target="../media/image2.png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7E7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olf #2">
            <a:extLst>
              <a:ext uri="{FF2B5EF4-FFF2-40B4-BE49-F238E27FC236}">
                <a16:creationId xmlns:a16="http://schemas.microsoft.com/office/drawing/2014/main" id="{48435C8D-F20F-D82A-CCC8-0AA78A7B8FCF}"/>
              </a:ext>
            </a:extLst>
          </p:cNvPr>
          <p:cNvGrpSpPr/>
          <p:nvPr/>
        </p:nvGrpSpPr>
        <p:grpSpPr>
          <a:xfrm>
            <a:off x="-1983103" y="-3057275"/>
            <a:ext cx="11371000" cy="15543142"/>
            <a:chOff x="-1983103" y="-3057275"/>
            <a:chExt cx="11371000" cy="15543142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CB76A04-2080-E0F8-5BA2-386059D351F9}"/>
                </a:ext>
              </a:extLst>
            </p:cNvPr>
            <p:cNvGrpSpPr/>
            <p:nvPr/>
          </p:nvGrpSpPr>
          <p:grpSpPr>
            <a:xfrm>
              <a:off x="-1983103" y="-3057275"/>
              <a:ext cx="11371000" cy="15543142"/>
              <a:chOff x="-1983103" y="-3057275"/>
              <a:chExt cx="11371000" cy="15543142"/>
            </a:xfrm>
          </p:grpSpPr>
          <p:sp>
            <p:nvSpPr>
              <p:cNvPr id="2" name="Freeform 2"/>
              <p:cNvSpPr/>
              <p:nvPr/>
            </p:nvSpPr>
            <p:spPr>
              <a:xfrm>
                <a:off x="0" y="0"/>
                <a:ext cx="7556500" cy="10693400"/>
              </a:xfrm>
              <a:custGeom>
                <a:avLst/>
                <a:gdLst/>
                <a:ahLst/>
                <a:cxnLst/>
                <a:rect l="l" t="t" r="r" b="b"/>
                <a:pathLst>
                  <a:path w="7580972" h="10722206">
                    <a:moveTo>
                      <a:pt x="0" y="0"/>
                    </a:moveTo>
                    <a:lnTo>
                      <a:pt x="7580972" y="0"/>
                    </a:lnTo>
                    <a:lnTo>
                      <a:pt x="7580972" y="10722206"/>
                    </a:lnTo>
                    <a:lnTo>
                      <a:pt x="0" y="1072220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9999"/>
                </a:blip>
                <a:stretch>
                  <a:fillRect l="-20717" r="-20717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ECFD607-CD48-1A3E-DFA9-94076FC4AF97}"/>
                  </a:ext>
                </a:extLst>
              </p:cNvPr>
              <p:cNvSpPr/>
              <p:nvPr/>
            </p:nvSpPr>
            <p:spPr>
              <a:xfrm rot="7369674">
                <a:off x="-2010761" y="9465171"/>
                <a:ext cx="3077275" cy="2964118"/>
              </a:xfrm>
              <a:custGeom>
                <a:avLst/>
                <a:gdLst>
                  <a:gd name="connsiteX0" fmla="*/ 3077275 w 3077275"/>
                  <a:gd name="connsiteY0" fmla="*/ 1338487 h 2964118"/>
                  <a:gd name="connsiteX1" fmla="*/ 2213756 w 3077275"/>
                  <a:gd name="connsiteY1" fmla="*/ 0 h 2964118"/>
                  <a:gd name="connsiteX2" fmla="*/ 3077275 w 3077275"/>
                  <a:gd name="connsiteY2" fmla="*/ 0 h 2964118"/>
                  <a:gd name="connsiteX3" fmla="*/ 2473277 w 3077275"/>
                  <a:gd name="connsiteY3" fmla="*/ 2964118 h 2964118"/>
                  <a:gd name="connsiteX4" fmla="*/ 3077275 w 3077275"/>
                  <a:gd name="connsiteY4" fmla="*/ 2574452 h 2964118"/>
                  <a:gd name="connsiteX5" fmla="*/ 3077275 w 3077275"/>
                  <a:gd name="connsiteY5" fmla="*/ 2964118 h 2964118"/>
                  <a:gd name="connsiteX6" fmla="*/ 2128536 w 3077275"/>
                  <a:gd name="connsiteY6" fmla="*/ 2964118 h 2964118"/>
                  <a:gd name="connsiteX7" fmla="*/ 2173852 w 3077275"/>
                  <a:gd name="connsiteY7" fmla="*/ 2934883 h 2964118"/>
                  <a:gd name="connsiteX8" fmla="*/ 2192713 w 3077275"/>
                  <a:gd name="connsiteY8" fmla="*/ 2964118 h 2964118"/>
                  <a:gd name="connsiteX9" fmla="*/ 0 w 3077275"/>
                  <a:gd name="connsiteY9" fmla="*/ 1917149 h 2964118"/>
                  <a:gd name="connsiteX10" fmla="*/ 0 w 3077275"/>
                  <a:gd name="connsiteY10" fmla="*/ 0 h 2964118"/>
                  <a:gd name="connsiteX11" fmla="*/ 492586 w 3077275"/>
                  <a:gd name="connsiteY11" fmla="*/ 0 h 2964118"/>
                  <a:gd name="connsiteX12" fmla="*/ 342777 w 3077275"/>
                  <a:gd name="connsiteY12" fmla="*/ 96648 h 2964118"/>
                  <a:gd name="connsiteX13" fmla="*/ 1071354 w 3077275"/>
                  <a:gd name="connsiteY13" fmla="*/ 1225970 h 2964118"/>
                  <a:gd name="connsiteX14" fmla="*/ 0 w 3077275"/>
                  <a:gd name="connsiteY14" fmla="*/ 2964118 h 2964118"/>
                  <a:gd name="connsiteX15" fmla="*/ 0 w 3077275"/>
                  <a:gd name="connsiteY15" fmla="*/ 2118836 h 2964118"/>
                  <a:gd name="connsiteX16" fmla="*/ 545330 w 3077275"/>
                  <a:gd name="connsiteY16" fmla="*/ 2964118 h 296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77275" h="2964118">
                    <a:moveTo>
                      <a:pt x="3077275" y="1338487"/>
                    </a:moveTo>
                    <a:lnTo>
                      <a:pt x="2213756" y="0"/>
                    </a:lnTo>
                    <a:lnTo>
                      <a:pt x="3077275" y="0"/>
                    </a:lnTo>
                    <a:close/>
                    <a:moveTo>
                      <a:pt x="2473277" y="2964118"/>
                    </a:moveTo>
                    <a:lnTo>
                      <a:pt x="3077275" y="2574452"/>
                    </a:lnTo>
                    <a:lnTo>
                      <a:pt x="3077275" y="2964118"/>
                    </a:lnTo>
                    <a:close/>
                    <a:moveTo>
                      <a:pt x="2128536" y="2964118"/>
                    </a:moveTo>
                    <a:lnTo>
                      <a:pt x="2173852" y="2934883"/>
                    </a:lnTo>
                    <a:lnTo>
                      <a:pt x="2192713" y="2964118"/>
                    </a:lnTo>
                    <a:close/>
                    <a:moveTo>
                      <a:pt x="0" y="1917149"/>
                    </a:moveTo>
                    <a:lnTo>
                      <a:pt x="0" y="0"/>
                    </a:lnTo>
                    <a:lnTo>
                      <a:pt x="492586" y="0"/>
                    </a:lnTo>
                    <a:lnTo>
                      <a:pt x="342777" y="96648"/>
                    </a:lnTo>
                    <a:lnTo>
                      <a:pt x="1071354" y="1225970"/>
                    </a:lnTo>
                    <a:close/>
                    <a:moveTo>
                      <a:pt x="0" y="2964118"/>
                    </a:moveTo>
                    <a:lnTo>
                      <a:pt x="0" y="2118836"/>
                    </a:lnTo>
                    <a:lnTo>
                      <a:pt x="545330" y="2964118"/>
                    </a:lnTo>
                    <a:close/>
                  </a:path>
                </a:pathLst>
              </a:custGeom>
              <a:blipFill>
                <a:blip r:embed="rId4">
                  <a:alphaModFix amt="5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E69AADE-6F2D-5DA0-0B26-DD3EBC3BFA74}"/>
                  </a:ext>
                </a:extLst>
              </p:cNvPr>
              <p:cNvSpPr/>
              <p:nvPr/>
            </p:nvSpPr>
            <p:spPr>
              <a:xfrm rot="7369674">
                <a:off x="6367200" y="6592873"/>
                <a:ext cx="3077275" cy="2964119"/>
              </a:xfrm>
              <a:custGeom>
                <a:avLst/>
                <a:gdLst>
                  <a:gd name="connsiteX0" fmla="*/ 0 w 3077275"/>
                  <a:gd name="connsiteY0" fmla="*/ 585609 h 2964119"/>
                  <a:gd name="connsiteX1" fmla="*/ 0 w 3077275"/>
                  <a:gd name="connsiteY1" fmla="*/ 0 h 2964119"/>
                  <a:gd name="connsiteX2" fmla="*/ 907717 w 3077275"/>
                  <a:gd name="connsiteY2" fmla="*/ 0 h 2964119"/>
                  <a:gd name="connsiteX3" fmla="*/ 0 w 3077275"/>
                  <a:gd name="connsiteY3" fmla="*/ 2964119 h 2964119"/>
                  <a:gd name="connsiteX4" fmla="*/ 0 w 3077275"/>
                  <a:gd name="connsiteY4" fmla="*/ 2016092 h 2964119"/>
                  <a:gd name="connsiteX5" fmla="*/ 398299 w 3077275"/>
                  <a:gd name="connsiteY5" fmla="*/ 2633471 h 2964119"/>
                  <a:gd name="connsiteX6" fmla="*/ 2924785 w 3077275"/>
                  <a:gd name="connsiteY6" fmla="*/ 1003520 h 2964119"/>
                  <a:gd name="connsiteX7" fmla="*/ 2277369 w 3077275"/>
                  <a:gd name="connsiteY7" fmla="*/ 0 h 2964119"/>
                  <a:gd name="connsiteX8" fmla="*/ 3077275 w 3077275"/>
                  <a:gd name="connsiteY8" fmla="*/ 0 h 2964119"/>
                  <a:gd name="connsiteX9" fmla="*/ 3077275 w 3077275"/>
                  <a:gd name="connsiteY9" fmla="*/ 2964119 h 296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77275" h="2964119">
                    <a:moveTo>
                      <a:pt x="0" y="585609"/>
                    </a:moveTo>
                    <a:lnTo>
                      <a:pt x="0" y="0"/>
                    </a:lnTo>
                    <a:lnTo>
                      <a:pt x="907717" y="0"/>
                    </a:lnTo>
                    <a:close/>
                    <a:moveTo>
                      <a:pt x="0" y="2964119"/>
                    </a:moveTo>
                    <a:lnTo>
                      <a:pt x="0" y="2016092"/>
                    </a:lnTo>
                    <a:lnTo>
                      <a:pt x="398299" y="2633471"/>
                    </a:lnTo>
                    <a:lnTo>
                      <a:pt x="2924785" y="1003520"/>
                    </a:lnTo>
                    <a:lnTo>
                      <a:pt x="2277369" y="0"/>
                    </a:lnTo>
                    <a:lnTo>
                      <a:pt x="3077275" y="0"/>
                    </a:lnTo>
                    <a:lnTo>
                      <a:pt x="3077275" y="2964119"/>
                    </a:lnTo>
                    <a:close/>
                  </a:path>
                </a:pathLst>
              </a:custGeom>
              <a:blipFill>
                <a:blip r:embed="rId4">
                  <a:alphaModFix amt="5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3B0BCC3C-D56E-9F6F-752F-8ECB159CD6C2}"/>
                  </a:ext>
                </a:extLst>
              </p:cNvPr>
              <p:cNvSpPr/>
              <p:nvPr/>
            </p:nvSpPr>
            <p:spPr>
              <a:xfrm rot="7369674">
                <a:off x="-2039682" y="4350184"/>
                <a:ext cx="3077275" cy="2964118"/>
              </a:xfrm>
              <a:custGeom>
                <a:avLst/>
                <a:gdLst>
                  <a:gd name="connsiteX0" fmla="*/ 2044914 w 3077275"/>
                  <a:gd name="connsiteY0" fmla="*/ 2964118 h 2964118"/>
                  <a:gd name="connsiteX1" fmla="*/ 3077275 w 3077275"/>
                  <a:gd name="connsiteY1" fmla="*/ 2298095 h 2964118"/>
                  <a:gd name="connsiteX2" fmla="*/ 3077275 w 3077275"/>
                  <a:gd name="connsiteY2" fmla="*/ 2964118 h 2964118"/>
                  <a:gd name="connsiteX3" fmla="*/ 0 w 3077275"/>
                  <a:gd name="connsiteY3" fmla="*/ 1878437 h 2964118"/>
                  <a:gd name="connsiteX4" fmla="*/ 0 w 3077275"/>
                  <a:gd name="connsiteY4" fmla="*/ 0 h 2964118"/>
                  <a:gd name="connsiteX5" fmla="*/ 3077275 w 3077275"/>
                  <a:gd name="connsiteY5" fmla="*/ 0 h 2964118"/>
                  <a:gd name="connsiteX6" fmla="*/ 3077275 w 3077275"/>
                  <a:gd name="connsiteY6" fmla="*/ 1248649 h 2964118"/>
                  <a:gd name="connsiteX7" fmla="*/ 2459786 w 3077275"/>
                  <a:gd name="connsiteY7" fmla="*/ 291518 h 2964118"/>
                  <a:gd name="connsiteX8" fmla="*/ 0 w 3077275"/>
                  <a:gd name="connsiteY8" fmla="*/ 2964118 h 2964118"/>
                  <a:gd name="connsiteX9" fmla="*/ 0 w 3077275"/>
                  <a:gd name="connsiteY9" fmla="*/ 2081724 h 2964118"/>
                  <a:gd name="connsiteX10" fmla="*/ 569273 w 3077275"/>
                  <a:gd name="connsiteY10" fmla="*/ 2964118 h 2964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77275" h="2964118">
                    <a:moveTo>
                      <a:pt x="2044914" y="2964118"/>
                    </a:moveTo>
                    <a:lnTo>
                      <a:pt x="3077275" y="2298095"/>
                    </a:lnTo>
                    <a:lnTo>
                      <a:pt x="3077275" y="2964118"/>
                    </a:lnTo>
                    <a:close/>
                    <a:moveTo>
                      <a:pt x="0" y="1878437"/>
                    </a:moveTo>
                    <a:lnTo>
                      <a:pt x="0" y="0"/>
                    </a:lnTo>
                    <a:lnTo>
                      <a:pt x="3077275" y="0"/>
                    </a:lnTo>
                    <a:lnTo>
                      <a:pt x="3077275" y="1248649"/>
                    </a:lnTo>
                    <a:lnTo>
                      <a:pt x="2459786" y="291518"/>
                    </a:lnTo>
                    <a:close/>
                    <a:moveTo>
                      <a:pt x="0" y="2964118"/>
                    </a:moveTo>
                    <a:lnTo>
                      <a:pt x="0" y="2081724"/>
                    </a:lnTo>
                    <a:lnTo>
                      <a:pt x="569273" y="2964118"/>
                    </a:lnTo>
                    <a:close/>
                  </a:path>
                </a:pathLst>
              </a:custGeom>
              <a:blipFill>
                <a:blip r:embed="rId4">
                  <a:alphaModFix amt="50000"/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74A1502-F218-CCF6-8439-D0A6D37672D3}"/>
                  </a:ext>
                </a:extLst>
              </p:cNvPr>
              <p:cNvSpPr/>
              <p:nvPr/>
            </p:nvSpPr>
            <p:spPr>
              <a:xfrm rot="-3528033">
                <a:off x="4404262" y="-2969033"/>
                <a:ext cx="4799476" cy="4622991"/>
              </a:xfrm>
              <a:custGeom>
                <a:avLst/>
                <a:gdLst>
                  <a:gd name="connsiteX0" fmla="*/ 787194 w 4799476"/>
                  <a:gd name="connsiteY0" fmla="*/ 0 h 4622991"/>
                  <a:gd name="connsiteX1" fmla="*/ 380368 w 4799476"/>
                  <a:gd name="connsiteY1" fmla="*/ 246378 h 4622991"/>
                  <a:gd name="connsiteX2" fmla="*/ 2229295 w 4799476"/>
                  <a:gd name="connsiteY2" fmla="*/ 3299385 h 4622991"/>
                  <a:gd name="connsiteX3" fmla="*/ 777701 w 4799476"/>
                  <a:gd name="connsiteY3" fmla="*/ 4178483 h 4622991"/>
                  <a:gd name="connsiteX4" fmla="*/ 1046899 w 4799476"/>
                  <a:gd name="connsiteY4" fmla="*/ 4622991 h 4622991"/>
                  <a:gd name="connsiteX5" fmla="*/ 0 w 4799476"/>
                  <a:gd name="connsiteY5" fmla="*/ 4622991 h 4622991"/>
                  <a:gd name="connsiteX6" fmla="*/ 0 w 4799476"/>
                  <a:gd name="connsiteY6" fmla="*/ 0 h 4622991"/>
                  <a:gd name="connsiteX7" fmla="*/ 4799476 w 4799476"/>
                  <a:gd name="connsiteY7" fmla="*/ 3823989 h 4622991"/>
                  <a:gd name="connsiteX8" fmla="*/ 4799476 w 4799476"/>
                  <a:gd name="connsiteY8" fmla="*/ 4622991 h 4622991"/>
                  <a:gd name="connsiteX9" fmla="*/ 3480138 w 4799476"/>
                  <a:gd name="connsiteY9" fmla="*/ 4622991 h 4622991"/>
                  <a:gd name="connsiteX10" fmla="*/ 4799476 w 4799476"/>
                  <a:gd name="connsiteY10" fmla="*/ 0 h 4622991"/>
                  <a:gd name="connsiteX11" fmla="*/ 4799476 w 4799476"/>
                  <a:gd name="connsiteY11" fmla="*/ 2292479 h 4622991"/>
                  <a:gd name="connsiteX12" fmla="*/ 3411132 w 4799476"/>
                  <a:gd name="connsiteY12" fmla="*/ 1 h 462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99476" h="4622991">
                    <a:moveTo>
                      <a:pt x="787194" y="0"/>
                    </a:moveTo>
                    <a:lnTo>
                      <a:pt x="380368" y="246378"/>
                    </a:lnTo>
                    <a:lnTo>
                      <a:pt x="2229295" y="3299385"/>
                    </a:lnTo>
                    <a:lnTo>
                      <a:pt x="777701" y="4178483"/>
                    </a:lnTo>
                    <a:lnTo>
                      <a:pt x="1046899" y="4622991"/>
                    </a:lnTo>
                    <a:lnTo>
                      <a:pt x="0" y="4622991"/>
                    </a:lnTo>
                    <a:lnTo>
                      <a:pt x="0" y="0"/>
                    </a:lnTo>
                    <a:close/>
                    <a:moveTo>
                      <a:pt x="4799476" y="3823989"/>
                    </a:moveTo>
                    <a:lnTo>
                      <a:pt x="4799476" y="4622991"/>
                    </a:lnTo>
                    <a:lnTo>
                      <a:pt x="3480138" y="4622991"/>
                    </a:lnTo>
                    <a:close/>
                    <a:moveTo>
                      <a:pt x="4799476" y="0"/>
                    </a:moveTo>
                    <a:lnTo>
                      <a:pt x="4799476" y="2292479"/>
                    </a:lnTo>
                    <a:lnTo>
                      <a:pt x="3411132" y="1"/>
                    </a:lnTo>
                    <a:close/>
                  </a:path>
                </a:pathLst>
              </a:custGeom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8"/>
              <p:cNvSpPr/>
              <p:nvPr/>
            </p:nvSpPr>
            <p:spPr>
              <a:xfrm rot="4104000">
                <a:off x="5779322" y="268072"/>
                <a:ext cx="234413" cy="279956"/>
              </a:xfrm>
              <a:custGeom>
                <a:avLst/>
                <a:gdLst/>
                <a:ahLst/>
                <a:cxnLst/>
                <a:rect l="l" t="t" r="r" b="b"/>
                <a:pathLst>
                  <a:path w="400159" h="477904">
                    <a:moveTo>
                      <a:pt x="200079" y="0"/>
                    </a:moveTo>
                    <a:cubicBezTo>
                      <a:pt x="89579" y="0"/>
                      <a:pt x="0" y="106982"/>
                      <a:pt x="0" y="238952"/>
                    </a:cubicBezTo>
                    <a:cubicBezTo>
                      <a:pt x="0" y="370922"/>
                      <a:pt x="89579" y="477904"/>
                      <a:pt x="200079" y="477904"/>
                    </a:cubicBezTo>
                    <a:cubicBezTo>
                      <a:pt x="310580" y="477904"/>
                      <a:pt x="400159" y="370922"/>
                      <a:pt x="400159" y="238952"/>
                    </a:cubicBezTo>
                    <a:cubicBezTo>
                      <a:pt x="400159" y="106982"/>
                      <a:pt x="310580" y="0"/>
                      <a:pt x="200079" y="0"/>
                    </a:cubicBezTo>
                    <a:close/>
                  </a:path>
                </a:pathLst>
              </a:custGeom>
              <a:solidFill>
                <a:srgbClr val="04220F">
                  <a:alpha val="40000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Freeform 20"/>
              <p:cNvSpPr/>
              <p:nvPr/>
            </p:nvSpPr>
            <p:spPr>
              <a:xfrm>
                <a:off x="5633985" y="262692"/>
                <a:ext cx="301414" cy="305863"/>
              </a:xfrm>
              <a:custGeom>
                <a:avLst/>
                <a:gdLst/>
                <a:ahLst/>
                <a:cxnLst/>
                <a:rect l="l" t="t" r="r" b="b"/>
                <a:pathLst>
                  <a:path w="301414" h="305863">
                    <a:moveTo>
                      <a:pt x="0" y="0"/>
                    </a:moveTo>
                    <a:lnTo>
                      <a:pt x="301414" y="0"/>
                    </a:lnTo>
                    <a:lnTo>
                      <a:pt x="301414" y="305863"/>
                    </a:lnTo>
                    <a:lnTo>
                      <a:pt x="0" y="30586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Freeform 21"/>
              <p:cNvSpPr/>
              <p:nvPr/>
            </p:nvSpPr>
            <p:spPr>
              <a:xfrm rot="-3528033">
                <a:off x="6162515" y="630530"/>
                <a:ext cx="542162" cy="522226"/>
              </a:xfrm>
              <a:custGeom>
                <a:avLst/>
                <a:gdLst/>
                <a:ahLst/>
                <a:cxnLst/>
                <a:rect l="l" t="t" r="r" b="b"/>
                <a:pathLst>
                  <a:path w="542162" h="522226">
                    <a:moveTo>
                      <a:pt x="0" y="0"/>
                    </a:moveTo>
                    <a:lnTo>
                      <a:pt x="542162" y="0"/>
                    </a:lnTo>
                    <a:lnTo>
                      <a:pt x="542162" y="522226"/>
                    </a:lnTo>
                    <a:lnTo>
                      <a:pt x="0" y="52222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Freeform 22"/>
              <p:cNvSpPr/>
              <p:nvPr/>
            </p:nvSpPr>
            <p:spPr>
              <a:xfrm rot="-3528033">
                <a:off x="6197455" y="692537"/>
                <a:ext cx="488652" cy="470683"/>
              </a:xfrm>
              <a:custGeom>
                <a:avLst/>
                <a:gdLst/>
                <a:ahLst/>
                <a:cxnLst/>
                <a:rect l="l" t="t" r="r" b="b"/>
                <a:pathLst>
                  <a:path w="488652" h="470683">
                    <a:moveTo>
                      <a:pt x="0" y="0"/>
                    </a:moveTo>
                    <a:lnTo>
                      <a:pt x="488651" y="0"/>
                    </a:lnTo>
                    <a:lnTo>
                      <a:pt x="488651" y="470683"/>
                    </a:lnTo>
                    <a:lnTo>
                      <a:pt x="0" y="47068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2D366B0C-8AD6-6AFE-EF10-AD86D1753970}"/>
                  </a:ext>
                </a:extLst>
              </p:cNvPr>
              <p:cNvSpPr/>
              <p:nvPr/>
            </p:nvSpPr>
            <p:spPr>
              <a:xfrm rot="4103871">
                <a:off x="6800692" y="105462"/>
                <a:ext cx="1472691" cy="1802013"/>
              </a:xfrm>
              <a:custGeom>
                <a:avLst/>
                <a:gdLst>
                  <a:gd name="connsiteX0" fmla="*/ 1294383 w 1418856"/>
                  <a:gd name="connsiteY0" fmla="*/ 0 h 1738020"/>
                  <a:gd name="connsiteX1" fmla="*/ 1418856 w 1418856"/>
                  <a:gd name="connsiteY1" fmla="*/ 0 h 1738020"/>
                  <a:gd name="connsiteX2" fmla="*/ 1418856 w 1418856"/>
                  <a:gd name="connsiteY2" fmla="*/ 49288 h 1738020"/>
                  <a:gd name="connsiteX3" fmla="*/ 0 w 1418856"/>
                  <a:gd name="connsiteY3" fmla="*/ 559991 h 1738020"/>
                  <a:gd name="connsiteX4" fmla="*/ 1373516 w 1418856"/>
                  <a:gd name="connsiteY4" fmla="*/ 1103864 h 1738020"/>
                  <a:gd name="connsiteX5" fmla="*/ 1418856 w 1418856"/>
                  <a:gd name="connsiteY5" fmla="*/ 989359 h 1738020"/>
                  <a:gd name="connsiteX6" fmla="*/ 1418856 w 1418856"/>
                  <a:gd name="connsiteY6" fmla="*/ 1738020 h 1738020"/>
                  <a:gd name="connsiteX7" fmla="*/ 0 w 1418856"/>
                  <a:gd name="connsiteY7" fmla="*/ 1738020 h 173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8856" h="1738020">
                    <a:moveTo>
                      <a:pt x="1294383" y="0"/>
                    </a:moveTo>
                    <a:lnTo>
                      <a:pt x="1418856" y="0"/>
                    </a:lnTo>
                    <a:lnTo>
                      <a:pt x="1418856" y="49288"/>
                    </a:lnTo>
                    <a:close/>
                    <a:moveTo>
                      <a:pt x="0" y="559991"/>
                    </a:moveTo>
                    <a:lnTo>
                      <a:pt x="1373516" y="1103864"/>
                    </a:lnTo>
                    <a:lnTo>
                      <a:pt x="1418856" y="989359"/>
                    </a:lnTo>
                    <a:lnTo>
                      <a:pt x="1418856" y="1738020"/>
                    </a:lnTo>
                    <a:lnTo>
                      <a:pt x="0" y="1738020"/>
                    </a:lnTo>
                    <a:close/>
                  </a:path>
                </a:pathLst>
              </a:custGeom>
              <a:blipFill>
                <a:blip r:embed="rId14">
                  <a:alphaModFix amt="40000"/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3"/>
              <p:cNvSpPr/>
              <p:nvPr/>
            </p:nvSpPr>
            <p:spPr>
              <a:xfrm>
                <a:off x="6192231" y="-7620"/>
                <a:ext cx="1418857" cy="1080481"/>
              </a:xfrm>
              <a:custGeom>
                <a:avLst/>
                <a:gdLst/>
                <a:ahLst/>
                <a:cxnLst/>
                <a:rect l="l" t="t" r="r" b="b"/>
                <a:pathLst>
                  <a:path w="1418857" h="1738020">
                    <a:moveTo>
                      <a:pt x="0" y="0"/>
                    </a:moveTo>
                    <a:lnTo>
                      <a:pt x="1418856" y="0"/>
                    </a:lnTo>
                    <a:lnTo>
                      <a:pt x="1418856" y="1738021"/>
                    </a:lnTo>
                    <a:lnTo>
                      <a:pt x="0" y="173802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 t="-60857" b="1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73B8A17-6197-63B9-2A2B-5FE2D8210112}"/>
                </a:ext>
              </a:extLst>
            </p:cNvPr>
            <p:cNvGrpSpPr/>
            <p:nvPr/>
          </p:nvGrpSpPr>
          <p:grpSpPr>
            <a:xfrm>
              <a:off x="267994" y="10281758"/>
              <a:ext cx="6996137" cy="123111"/>
              <a:chOff x="267994" y="10281758"/>
              <a:chExt cx="6996137" cy="123111"/>
            </a:xfrm>
          </p:grpSpPr>
          <p:sp>
            <p:nvSpPr>
              <p:cNvPr id="13" name="TextBox 13"/>
              <p:cNvSpPr txBox="1"/>
              <p:nvPr/>
            </p:nvSpPr>
            <p:spPr>
              <a:xfrm>
                <a:off x="267994" y="10281758"/>
                <a:ext cx="2238126" cy="1231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l">
                  <a:spcBef>
                    <a:spcPct val="0"/>
                  </a:spcBef>
                </a:pPr>
                <a:r>
                  <a:rPr lang="en-US" sz="800" dirty="0">
                    <a:solidFill>
                      <a:srgbClr val="FFFFFF">
                        <a:alpha val="80000"/>
                      </a:srgbClr>
                    </a:solidFill>
                    <a:latin typeface="Sora"/>
                    <a:ea typeface="Sora"/>
                    <a:cs typeface="Sora"/>
                    <a:sym typeface="Sora"/>
                  </a:rPr>
                  <a:t>REGISTER B</a:t>
                </a:r>
                <a:r>
                  <a:rPr lang="en-US" sz="800" dirty="0">
                    <a:solidFill>
                      <a:srgbClr val="104F26">
                        <a:alpha val="80000"/>
                      </a:srgbClr>
                    </a:solidFill>
                    <a:latin typeface="Sora"/>
                    <a:ea typeface="Sora"/>
                    <a:cs typeface="Sora"/>
                    <a:sym typeface="Sora"/>
                  </a:rPr>
                  <a:t>EFORE</a:t>
                </a:r>
                <a:r>
                  <a:rPr lang="en-US" sz="800" dirty="0">
                    <a:solidFill>
                      <a:srgbClr val="104F26">
                        <a:alpha val="80000"/>
                      </a:srgbClr>
                    </a:solidFill>
                    <a:latin typeface="Sora Bold"/>
                    <a:ea typeface="Sora Bold"/>
                    <a:cs typeface="Sora Bold"/>
                    <a:sym typeface="Sora Bold"/>
                  </a:rPr>
                  <a:t> </a:t>
                </a:r>
                <a:r>
                  <a:rPr lang="en-US" sz="800" b="1" dirty="0">
                    <a:solidFill>
                      <a:srgbClr val="104F26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| 17 AUGUST 2030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5559165" y="10281758"/>
                <a:ext cx="1704966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spcBef>
                    <a:spcPct val="0"/>
                  </a:spcBef>
                </a:pPr>
                <a:r>
                  <a:rPr lang="en-US" sz="800" b="1" dirty="0">
                    <a:solidFill>
                      <a:srgbClr val="104F26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WWW.GREENVALLEYN.COM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B81059A-4BF5-121F-AE78-71AD740A3F7C}"/>
                </a:ext>
              </a:extLst>
            </p:cNvPr>
            <p:cNvGrpSpPr/>
            <p:nvPr/>
          </p:nvGrpSpPr>
          <p:grpSpPr>
            <a:xfrm>
              <a:off x="146072" y="890642"/>
              <a:ext cx="7118058" cy="3363849"/>
              <a:chOff x="146072" y="890642"/>
              <a:chExt cx="7118058" cy="3363849"/>
            </a:xfrm>
          </p:grpSpPr>
          <p:sp>
            <p:nvSpPr>
              <p:cNvPr id="25" name="TextBox 25"/>
              <p:cNvSpPr txBox="1"/>
              <p:nvPr/>
            </p:nvSpPr>
            <p:spPr>
              <a:xfrm>
                <a:off x="146072" y="890642"/>
                <a:ext cx="4619185" cy="26465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17198" b="1" spc="-1719" dirty="0">
                    <a:solidFill>
                      <a:srgbClr val="104F26">
                        <a:alpha val="80000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Golf</a:t>
                </a:r>
              </a:p>
            </p:txBody>
          </p:sp>
          <p:sp>
            <p:nvSpPr>
              <p:cNvPr id="26" name="TextBox 26"/>
              <p:cNvSpPr txBox="1"/>
              <p:nvPr/>
            </p:nvSpPr>
            <p:spPr>
              <a:xfrm>
                <a:off x="267994" y="2754721"/>
                <a:ext cx="6992033" cy="14997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9746" b="1" spc="-487" dirty="0">
                    <a:solidFill>
                      <a:srgbClr val="104F26">
                        <a:alpha val="69804"/>
                      </a:srgbClr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tournament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4380338" y="2110607"/>
                <a:ext cx="2883792" cy="5509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/>
                <a:r>
                  <a:rPr lang="en-US" sz="3600" b="1" spc="-179" dirty="0">
                    <a:solidFill>
                      <a:srgbClr val="366C41"/>
                    </a:solidFill>
                    <a:latin typeface="Sora" pitchFamily="2" charset="0"/>
                    <a:ea typeface="Sora Bold"/>
                    <a:cs typeface="Sora" pitchFamily="2" charset="0"/>
                    <a:sym typeface="Sora Bold"/>
                  </a:rPr>
                  <a:t>25-27 NOV</a:t>
                </a: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4887179" y="2667050"/>
                <a:ext cx="2376951" cy="13356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/>
                <a:r>
                  <a:rPr lang="en-US" sz="850" spc="-43" dirty="0">
                    <a:solidFill>
                      <a:srgbClr val="366C41"/>
                    </a:solidFill>
                    <a:latin typeface="Sora"/>
                    <a:ea typeface="Sora"/>
                    <a:cs typeface="Sora"/>
                    <a:sym typeface="Sora"/>
                  </a:rPr>
                  <a:t>123 GREENHILL LANE, EVERWOOD | 03:00 PM</a:t>
                </a:r>
              </a:p>
            </p:txBody>
          </p:sp>
          <p:sp>
            <p:nvSpPr>
              <p:cNvPr id="33" name="TextBox 33"/>
              <p:cNvSpPr txBox="1"/>
              <p:nvPr/>
            </p:nvSpPr>
            <p:spPr>
              <a:xfrm rot="21221086">
                <a:off x="1903890" y="1362889"/>
                <a:ext cx="871894" cy="307561"/>
              </a:xfrm>
              <a:prstGeom prst="rect">
                <a:avLst/>
              </a:prstGeom>
            </p:spPr>
            <p:txBody>
              <a:bodyPr lIns="0" tIns="0" rIns="0" bIns="0" rtlCol="0" anchor="t">
                <a:prstTxWarp prst="textArchUp">
                  <a:avLst>
                    <a:gd name="adj" fmla="val 11879952"/>
                  </a:avLst>
                </a:prstTxWarp>
                <a:spAutoFit/>
              </a:bodyPr>
              <a:lstStyle/>
              <a:p>
                <a:pPr algn="l">
                  <a:lnSpc>
                    <a:spcPts val="812"/>
                  </a:lnSpc>
                </a:pPr>
                <a:r>
                  <a:rPr lang="en-US" sz="900" spc="25" dirty="0">
                    <a:solidFill>
                      <a:srgbClr val="366C41"/>
                    </a:solidFill>
                    <a:latin typeface="Sora"/>
                    <a:ea typeface="Sora"/>
                    <a:cs typeface="Sora"/>
                    <a:sym typeface="Sora"/>
                  </a:rPr>
                  <a:t>SIGN UP SHEET</a:t>
                </a:r>
              </a:p>
            </p:txBody>
          </p:sp>
          <p:sp>
            <p:nvSpPr>
              <p:cNvPr id="30" name="Freeform 30"/>
              <p:cNvSpPr/>
              <p:nvPr/>
            </p:nvSpPr>
            <p:spPr>
              <a:xfrm rot="4104000">
                <a:off x="2413544" y="1479510"/>
                <a:ext cx="1197791" cy="1430505"/>
              </a:xfrm>
              <a:custGeom>
                <a:avLst/>
                <a:gdLst/>
                <a:ahLst/>
                <a:cxnLst/>
                <a:rect l="l" t="t" r="r" b="b"/>
                <a:pathLst>
                  <a:path w="400159" h="477904">
                    <a:moveTo>
                      <a:pt x="200079" y="0"/>
                    </a:moveTo>
                    <a:cubicBezTo>
                      <a:pt x="89579" y="0"/>
                      <a:pt x="0" y="106982"/>
                      <a:pt x="0" y="238952"/>
                    </a:cubicBezTo>
                    <a:cubicBezTo>
                      <a:pt x="0" y="370922"/>
                      <a:pt x="89579" y="477904"/>
                      <a:pt x="200079" y="477904"/>
                    </a:cubicBezTo>
                    <a:cubicBezTo>
                      <a:pt x="310580" y="477904"/>
                      <a:pt x="400159" y="370922"/>
                      <a:pt x="400159" y="238952"/>
                    </a:cubicBezTo>
                    <a:cubicBezTo>
                      <a:pt x="400159" y="106982"/>
                      <a:pt x="310580" y="0"/>
                      <a:pt x="200079" y="0"/>
                    </a:cubicBezTo>
                    <a:close/>
                  </a:path>
                </a:pathLst>
              </a:custGeom>
              <a:solidFill>
                <a:srgbClr val="104F26">
                  <a:alpha val="40000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Freeform 32"/>
              <p:cNvSpPr/>
              <p:nvPr/>
            </p:nvSpPr>
            <p:spPr>
              <a:xfrm>
                <a:off x="1670911" y="1452021"/>
                <a:ext cx="1540150" cy="1562883"/>
              </a:xfrm>
              <a:custGeom>
                <a:avLst/>
                <a:gdLst/>
                <a:ahLst/>
                <a:cxnLst/>
                <a:rect l="l" t="t" r="r" b="b"/>
                <a:pathLst>
                  <a:path w="1540150" h="1562883">
                    <a:moveTo>
                      <a:pt x="0" y="0"/>
                    </a:moveTo>
                    <a:lnTo>
                      <a:pt x="1540150" y="0"/>
                    </a:lnTo>
                    <a:lnTo>
                      <a:pt x="1540150" y="1562882"/>
                    </a:lnTo>
                    <a:lnTo>
                      <a:pt x="0" y="156288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456D10F9-49E2-3770-EEC6-72AFD4F11695}"/>
                </a:ext>
              </a:extLst>
            </p:cNvPr>
            <p:cNvGrpSpPr/>
            <p:nvPr/>
          </p:nvGrpSpPr>
          <p:grpSpPr>
            <a:xfrm>
              <a:off x="304242" y="331023"/>
              <a:ext cx="1318375" cy="333299"/>
              <a:chOff x="304242" y="331023"/>
              <a:chExt cx="1318375" cy="333299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304242" y="331023"/>
                <a:ext cx="322571" cy="322571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9C4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389050" y="371944"/>
                <a:ext cx="152956" cy="240729"/>
              </a:xfrm>
              <a:custGeom>
                <a:avLst/>
                <a:gdLst/>
                <a:ahLst/>
                <a:cxnLst/>
                <a:rect l="l" t="t" r="r" b="b"/>
                <a:pathLst>
                  <a:path w="203941" h="320972">
                    <a:moveTo>
                      <a:pt x="0" y="0"/>
                    </a:moveTo>
                    <a:lnTo>
                      <a:pt x="203941" y="0"/>
                    </a:lnTo>
                    <a:lnTo>
                      <a:pt x="203941" y="320972"/>
                    </a:lnTo>
                    <a:lnTo>
                      <a:pt x="0" y="32097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707219" y="350775"/>
                <a:ext cx="915398" cy="31354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lnSpc>
                    <a:spcPts val="1239"/>
                  </a:lnSpc>
                </a:pPr>
                <a:r>
                  <a:rPr lang="en-US" sz="1250" spc="-30" dirty="0">
                    <a:solidFill>
                      <a:srgbClr val="104F26">
                        <a:alpha val="69804"/>
                      </a:srgbClr>
                    </a:solidFill>
                    <a:latin typeface="Sora"/>
                    <a:ea typeface="Sora"/>
                    <a:cs typeface="Sora"/>
                    <a:sym typeface="Sora"/>
                  </a:rPr>
                  <a:t>Greenway Golf Co.</a:t>
                </a:r>
              </a:p>
            </p:txBody>
          </p:sp>
        </p:grpSp>
        <p:sp>
          <p:nvSpPr>
            <p:cNvPr id="6" name="QuickSignup"/>
            <p:cNvSpPr/>
            <p:nvPr/>
          </p:nvSpPr>
          <p:spPr>
            <a:xfrm>
              <a:off x="3516155" y="10291283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0">
                <a:alphaModFix amt="80000"/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7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321053"/>
              </p:ext>
            </p:extLst>
          </p:nvPr>
        </p:nvGraphicFramePr>
        <p:xfrm>
          <a:off x="267993" y="4338057"/>
          <a:ext cx="6992033" cy="5830836"/>
        </p:xfrm>
        <a:graphic>
          <a:graphicData uri="http://schemas.openxmlformats.org/drawingml/2006/table">
            <a:tbl>
              <a:tblPr/>
              <a:tblGrid>
                <a:gridCol w="13984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32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34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34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34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3007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1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99" b="1" dirty="0">
                          <a:solidFill>
                            <a:srgbClr val="0D622C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layer Name</a:t>
                      </a:r>
                      <a:endParaRPr lang="en-US" sz="1100" b="1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C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1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99" b="1" dirty="0">
                          <a:solidFill>
                            <a:srgbClr val="0D622C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hone</a:t>
                      </a:r>
                      <a:endParaRPr lang="en-US" sz="1100" b="1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C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1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99" b="1" dirty="0">
                          <a:solidFill>
                            <a:srgbClr val="0D622C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Handicap</a:t>
                      </a:r>
                      <a:endParaRPr lang="en-US" sz="1100" b="1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1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99" b="1" dirty="0">
                          <a:solidFill>
                            <a:srgbClr val="0D622C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Special Requests</a:t>
                      </a:r>
                      <a:endParaRPr lang="en-US" sz="1100" b="1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19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799" b="1" dirty="0">
                          <a:solidFill>
                            <a:srgbClr val="0D622C"/>
                          </a:solidFill>
                          <a:latin typeface="Sora" pitchFamily="2" charset="0"/>
                          <a:ea typeface="Sora Bold"/>
                          <a:cs typeface="Sora" pitchFamily="2" charset="0"/>
                          <a:sym typeface="Sora Bold"/>
                        </a:rPr>
                        <a:t>Payment Method</a:t>
                      </a:r>
                      <a:endParaRPr lang="en-US" sz="1100" b="1" dirty="0"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4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30076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6F996A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marL="0" marR="0" marT="0" marB="0" anchor="ctr">
                    <a:lnL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7" cap="flat" cmpd="sng" algn="ctr">
                      <a:solidFill>
                        <a:srgbClr val="6C966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</TotalTime>
  <Words>38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ora</vt:lpstr>
      <vt:lpstr>Calibri</vt:lpstr>
      <vt:lpstr>Sora Bold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37</cp:revision>
  <dcterms:created xsi:type="dcterms:W3CDTF">2006-08-16T00:00:00Z</dcterms:created>
  <dcterms:modified xsi:type="dcterms:W3CDTF">2024-08-29T09:15:20Z</dcterms:modified>
  <dc:identifier>DAGPM7CRhDg</dc:identifier>
</cp:coreProperties>
</file>